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4848" r:id="rId6"/>
    <p:sldId id="2147375597" r:id="rId7"/>
    <p:sldId id="2147375600" r:id="rId8"/>
    <p:sldId id="2147375601" r:id="rId9"/>
    <p:sldId id="2147375604" r:id="rId10"/>
    <p:sldId id="2147375602" r:id="rId11"/>
    <p:sldId id="1633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1 (29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Introduction to Business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ccording to the International Institute of Business Analysis (IIBA), business analysis is the practice of enabling change within an organizational contex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sines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n organization that provides products or services to satisfy customer needs with the objective of making a profit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nalysi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systematic examination.</a:t>
            </a: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DLC Model (Software Development Life Cycle)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lan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volves business analysts to define requirements.</a:t>
            </a: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sign and Prototyp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Develop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sting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ployment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Operations and Maintenance</a:t>
            </a:r>
            <a:endParaRPr lang="en-GB" sz="12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Analysis</a:t>
            </a:r>
            <a:endParaRPr lang="en-GB" sz="12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ocess of defining user expectations for a new or modified software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what the product does (mandatory).</a:t>
            </a:r>
          </a:p>
          <a:p>
            <a:pPr marL="1200150" lvl="2" indent="-285750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Non-Functional Requirements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scribe how the product works (non-mandatory).</a:t>
            </a:r>
          </a:p>
          <a:p>
            <a:pPr lvl="1"/>
            <a:r>
              <a:rPr lang="en-GB" sz="12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ey Learning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Never assume; always ask. This was emphasized through a team activity where we </a:t>
            </a:r>
            <a:r>
              <a:rPr lang="en-GB" sz="1200" b="0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ed</a:t>
            </a:r>
            <a:r>
              <a:rPr lang="en-GB" sz="12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 a paper airplane.</a:t>
            </a:r>
          </a:p>
          <a:p>
            <a:pPr lvl="1">
              <a:buFont typeface="+mj-lt"/>
              <a:buAutoNum type="arabicPeriod"/>
            </a:pPr>
            <a:endParaRPr lang="en-GB" sz="12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Elicitatio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practice of researching and discovering the requirements of a system from users, customers, and other stakeholders. Also known as “requirement gathering.”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Techniqu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rainstorming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ocument Analysis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</a:t>
            </a:r>
            <a:r>
              <a:rPr lang="en-GB" sz="1100" b="1" i="0" dirty="0" err="1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odeling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ypes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lass-Based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ta-Based</a:t>
            </a: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p Management Technique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ork Breakdown Structure (WBS)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ssential for effective project planning, execution, controlling, monitoring, and reporting.</a:t>
            </a: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Gantt Charts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ritical Path Method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Kanban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>
              <a:buFont typeface="+mj-lt"/>
              <a:buAutoNum type="arabicPeriod"/>
            </a:pPr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</a:t>
            </a:r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1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 Traceability</a:t>
            </a:r>
            <a:r>
              <a:rPr lang="en-GB" sz="11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: </a:t>
            </a:r>
            <a:r>
              <a:rPr lang="en-GB" sz="11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sures each business need is tied to an actual requirement and each requirement is tied to a deliverable.</a:t>
            </a:r>
          </a:p>
          <a:p>
            <a:pPr algn="l"/>
            <a:endParaRPr lang="en-GB" sz="11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aterfall Model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quirements, Design, Development, Testing, Deployment, Maintenanc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Simple, easy to understand, good for small requirements, and works well when quality is more important than cost or schedule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isadvantag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Cannot go back to previous stages, customers see the product only at launch, no demos involved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en to Use the Waterfall Model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equirements are well-known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definition is stable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echnology is understood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veloping a new version of an existing product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orting an existing product to a new platform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Method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xamp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daptive Software Development, Feature Driven Development, Scrum, Extreme Programming, Kanban.</a:t>
            </a:r>
            <a:endParaRPr lang="en-GB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enefits of Scrum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daptability, continuous improvement, sustainable pace, motivation, faster problem resolution, customer-centric, high velocity, efficient development process.</a:t>
            </a:r>
          </a:p>
          <a:p>
            <a:pPr lvl="2"/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2-4 week period to accomplish a goa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Roles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Own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Master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Team Memb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akehold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15-minute daily meeting to review progr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A meeting at the end of each sprint to review achievements and plan improvements.</a:t>
            </a:r>
          </a:p>
          <a:p>
            <a:pPr algn="l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Even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Planning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Deciding what can be delivered within a sprint and what work is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aily Scrum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progress toward the sprint goal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view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Reviewing achievements at the end of each sprint and adapting the product backlog if needed.</a:t>
            </a:r>
          </a:p>
          <a:p>
            <a:pPr lvl="1"/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rint Retrospective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nspecting the team’s performance and creating a plan for improvements.</a:t>
            </a:r>
          </a:p>
        </p:txBody>
      </p:sp>
    </p:spTree>
    <p:extLst>
      <p:ext uri="{BB962C8B-B14F-4D97-AF65-F5344CB8AC3E}">
        <p14:creationId xmlns:p14="http://schemas.microsoft.com/office/powerpoint/2010/main" val="307894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E4DBA5-C01A-000F-7E6C-FF577F4111D1}"/>
              </a:ext>
            </a:extLst>
          </p:cNvPr>
          <p:cNvSpPr txBox="1">
            <a:spLocks/>
          </p:cNvSpPr>
          <p:nvPr/>
        </p:nvSpPr>
        <p:spPr>
          <a:xfrm>
            <a:off x="433726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duct Backlog for Planning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roject planning is based on a product backlog containing functions and technology enhanceme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Meetings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decide features for the next sprint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o plan out the work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Queue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Uses lightweight queue-based management and work breakdown mechanisms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Sprint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The basic unit of development in Scrum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uration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One week to one month.</a:t>
            </a:r>
          </a:p>
          <a:p>
            <a:pPr lvl="1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“Time-Boxed”</a:t>
            </a:r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ffort of a constant length.</a:t>
            </a:r>
          </a:p>
          <a:p>
            <a:pPr algn="l"/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tting Up Azure DevOp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tails on setting up and using Azure DevOps for project management and development.</a:t>
            </a:r>
          </a:p>
        </p:txBody>
      </p:sp>
    </p:spTree>
    <p:extLst>
      <p:ext uri="{BB962C8B-B14F-4D97-AF65-F5344CB8AC3E}">
        <p14:creationId xmlns:p14="http://schemas.microsoft.com/office/powerpoint/2010/main" val="3870553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6</TotalTime>
  <Words>654</Words>
  <Application>Microsoft Office PowerPoint</Application>
  <PresentationFormat>Widescreen</PresentationFormat>
  <Paragraphs>9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Learning 5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17</cp:revision>
  <dcterms:created xsi:type="dcterms:W3CDTF">2022-01-18T12:35:56Z</dcterms:created>
  <dcterms:modified xsi:type="dcterms:W3CDTF">2024-09-01T17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